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7"/>
  </p:notesMasterIdLst>
  <p:sldIdLst>
    <p:sldId id="11410" r:id="rId6"/>
  </p:sldIdLst>
  <p:sldSz cx="12192000" cy="6858000"/>
  <p:notesSz cx="6797675" cy="9926638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5268" autoAdjust="0"/>
  </p:normalViewPr>
  <p:slideViewPr>
    <p:cSldViewPr snapToGrid="0">
      <p:cViewPr varScale="1">
        <p:scale>
          <a:sx n="111" d="100"/>
          <a:sy n="111" d="100"/>
        </p:scale>
        <p:origin x="64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3B8245-DDF6-4597-BC79-EC2BB5CCFDC4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6C35E8-DD75-4E64-865F-35E2D0E305F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4677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53692-0CC1-4F54-A35D-0248286E948D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50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3F616-7BA8-40BE-8C76-9186DAE78F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4B96EBF-6AE9-4D26-B1B3-47D07FF788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364F51A1-B1E2-4E78-9B24-E6D35B1E2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64A05C9B-0FFE-4D55-90E4-9E1EE4089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E5937481-9D2B-4352-B178-C896FB1EC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84970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CC85304-883A-4575-98C0-BD0B92F70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C7EA3AD5-442A-4BD1-B9F0-7DA0519888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243FA533-E983-4E34-9AC8-47FDD9814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E491621-7F18-45A3-80E2-AE9FEE42B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7F0C454-A0BF-4C30-A72E-1519BD1BF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11221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F63E9961-B0E8-45FE-9536-FDDA25531C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BAA79EBD-723B-406B-AE67-C7F1D83BA2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14FFBD8-6F8C-4E3B-B17F-1EF388D91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0B20FC8-8B9F-4823-A2B4-F13DD9C4C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5D420AA-859D-4A5A-946F-8645A6DFF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38899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1159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/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GB" dirty="0"/>
              <a:t>Click to insert name and title of presente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628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38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12192000" cy="309240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pic>
        <p:nvPicPr>
          <p:cNvPr id="9" name="Picture Placeholder 3" descr="_0006_4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84" y="1788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96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1" y="1341439"/>
            <a:ext cx="54229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18" y="1341439"/>
            <a:ext cx="5425015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84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54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471630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735994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350546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1FA9367-043E-4AC7-B17D-E79DFD20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1F05B6B-C9BE-45D4-BFE5-C26F235C4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D183C4B-0A7E-43C1-8515-FA4DE3561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 dirty="0" err="1"/>
              <a:t>Politoka</a:t>
            </a:r>
            <a:r>
              <a:rPr lang="sk-SK" dirty="0"/>
              <a:t> kvality, </a:t>
            </a:r>
            <a:r>
              <a:rPr lang="sk-SK" dirty="0" err="1"/>
              <a:t>Rev.A</a:t>
            </a:r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F3BCE4F9-91C7-406B-A34A-D4AB5AD36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23F8B31A-FFE0-44C9-AE67-9C262FF66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84027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488077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1416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064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076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9529111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04467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51051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31148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216234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1432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6709" y="188775"/>
            <a:ext cx="3052064" cy="5852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151682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41ED79-CF5F-4862-A55F-0D51A711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5353F007-1F1B-4130-8A9B-0C46286C7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166A1ADC-C373-4C23-A0FC-EE24ED546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3ABE6219-7CFE-4618-95CD-6AE9A9F42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32E3CB82-6F24-4634-B74E-D9837E05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61628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2692" y="2189487"/>
            <a:ext cx="4130947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3819" y="3887527"/>
            <a:ext cx="3288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334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580131" y="1459118"/>
            <a:ext cx="10972800" cy="518346"/>
          </a:xfrm>
        </p:spPr>
        <p:txBody>
          <a:bodyPr vert="horz" lIns="0" tIns="0" rIns="0" bIns="0" anchor="b">
            <a:noAutofit/>
          </a:bodyPr>
          <a:lstStyle>
            <a:lvl1pPr>
              <a:defRPr sz="2500" b="0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kumimoji="0" lang="en-US" dirty="0"/>
              <a:t>Presenta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80131" y="2006215"/>
            <a:ext cx="10969325" cy="484888"/>
          </a:xfrm>
        </p:spPr>
        <p:txBody>
          <a:bodyPr lIns="0" rIns="0"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Verdana Bold 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77417148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919" y="588735"/>
            <a:ext cx="11025715" cy="57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39233" y="6455049"/>
            <a:ext cx="3860800" cy="29262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2628" y="6455049"/>
            <a:ext cx="544872" cy="292627"/>
          </a:xfrm>
          <a:prstGeom prst="rect">
            <a:avLst/>
          </a:prstGeom>
        </p:spPr>
        <p:txBody>
          <a:bodyPr/>
          <a:lstStyle/>
          <a:p>
            <a:fld id="{F8692537-37EA-4940-94EF-5BABC570D227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  <a:ea typeface="Verdana"/>
                <a:cs typeface="Verdana"/>
              </a:rPr>
              <a:t>│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669507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473371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200" y="355201"/>
            <a:ext cx="10972800" cy="827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5200" y="1316567"/>
            <a:ext cx="11260667" cy="48895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63553" y="6013752"/>
            <a:ext cx="4205185" cy="38463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20942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5"/>
          <p:cNvSpPr>
            <a:spLocks noGrp="1"/>
          </p:cNvSpPr>
          <p:nvPr>
            <p:ph type="title"/>
          </p:nvPr>
        </p:nvSpPr>
        <p:spPr>
          <a:xfrm>
            <a:off x="336000" y="28800"/>
            <a:ext cx="11517333" cy="1202400"/>
          </a:xfrm>
          <a:prstGeom prst="rect">
            <a:avLst/>
          </a:prstGeom>
        </p:spPr>
        <p:txBody>
          <a:bodyPr wrap="none" rtlCol="0">
            <a:noAutofit/>
          </a:bodyPr>
          <a:lstStyle>
            <a:lvl1pPr>
              <a:lnSpc>
                <a:spcPts val="54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652433" y="6584950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ge </a:t>
            </a:r>
            <a:fld id="{0050A437-077C-4435-B2FB-BAA23F0AF71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92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EBA38E-7AA4-436B-8410-4D4E7DF22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52E028FD-D23C-4F20-A7FB-A0585F5A9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2616EF3B-D544-4317-AC55-55FC1FA30A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09B39CD-F05E-4FD5-A4C5-64FC2B3C6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55354678-1DC3-4B83-B1B2-097E9945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2E971368-4AD8-426E-ADD9-768D5D9E7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4575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63BBD3-D733-474F-A307-73F1D6CB2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A3C70414-4E1D-427D-AD84-EE03ED9F3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0CE35498-73F1-41F9-8C0B-73471AC9BD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>
            <a:extLst>
              <a:ext uri="{FF2B5EF4-FFF2-40B4-BE49-F238E27FC236}">
                <a16:creationId xmlns:a16="http://schemas.microsoft.com/office/drawing/2014/main" id="{8A8BB875-4880-4FF6-A4CE-CE568F96E8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360DC72F-96FF-4199-AF09-3235951DF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159BCB19-BA96-4700-B895-BC240B5D9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D7FC9725-A9AC-4D41-AA37-F775FE06C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5265C711-558F-4A36-80DD-4FA286217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20715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EBD4AD-ACE7-49A3-9900-E33C02842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2A756AF8-D9E6-43F9-ABB6-E7CCB0FEC4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C54B73C6-1AFC-4B6F-850B-02781272F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34B7F46B-6DFE-45B9-9C3A-E854DDE7B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69370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D1049574-9FF2-4F71-AC84-35258404E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115A0B46-A08A-49C9-B911-54F8B84DE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CC471BAE-E6A2-4858-B168-EB81C5948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93012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9FF463-589F-4FF6-BF99-5A9CAA2C5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FBE8EA8D-A4A8-451F-BFF9-F8EE88A405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1FFA04FC-2B44-4BB6-BED9-E3CC7D1929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4BBC3F6-03BD-4840-9ADE-9B26AC071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9A304537-73EF-4D12-860D-578C3BA05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3D537B34-4F0D-4972-8338-1330BCA1E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05312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239E16-6B8D-448E-9ECE-13A443D61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5ECFA3B5-C53F-42B4-B334-FF7EB80B67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5F18136C-D9C3-4FFC-9734-E678417F80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F7E7E94A-31DE-4A52-83F8-1DE8BEC3E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BDD7FEA1-2118-40B1-8863-5B5993C2B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10285D9B-178A-41C4-87D1-D93FA878A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47780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F772BE4B-9F2F-49CE-B48A-891AAD447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1E1663A4-EE61-4DAE-9E6E-721EB8E9B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A8933D5-42DA-442B-B8CE-90FD2319EF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AFE452-6AC6-45D0-8ED9-79239B7E9190}" type="datetimeFigureOut">
              <a:rPr lang="sk-SK" smtClean="0"/>
              <a:t>21.05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53C3D738-5D6D-46BE-8211-26193C909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B5A5314-C2F5-4F8D-AB9D-1BCDDA7F3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9333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341438"/>
            <a:ext cx="11078633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prstClr val="white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  <a:r>
              <a:rPr lang="en-GB" sz="900" dirty="0">
                <a:solidFill>
                  <a:prstClr val="white"/>
                </a:solidFill>
                <a:ea typeface="SimHei"/>
                <a:cs typeface="Arial" charset="0"/>
              </a:rPr>
              <a:t>|</a:t>
            </a: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89"/>
            <a:ext cx="5330676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sk-SK" sz="800" dirty="0">
                <a:solidFill>
                  <a:prstClr val="white"/>
                </a:solidFill>
                <a:ea typeface="SimHei"/>
                <a:cs typeface="Arial" charset="0"/>
              </a:rPr>
              <a:t>Politika</a:t>
            </a:r>
            <a:r>
              <a:rPr lang="sk-SK" sz="800" baseline="0" dirty="0">
                <a:solidFill>
                  <a:prstClr val="white"/>
                </a:solidFill>
                <a:ea typeface="SimHei"/>
                <a:cs typeface="Arial" charset="0"/>
              </a:rPr>
              <a:t> QES 2019, rev.G</a:t>
            </a:r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0349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1F2C47-C654-4CE9-BE6C-4E462EFA0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JM" b="1" dirty="0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EA11B612-6E19-4D13-B054-BCF8E7C63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185" y="1416083"/>
            <a:ext cx="11076305" cy="4459146"/>
          </a:xfrm>
        </p:spPr>
        <p:txBody>
          <a:bodyPr>
            <a:normAutofit fontScale="55000" lnSpcReduction="20000"/>
          </a:bodyPr>
          <a:lstStyle/>
          <a:p>
            <a:pPr lvl="0"/>
            <a:r>
              <a:rPr lang="sk-SK" sz="2900" dirty="0"/>
              <a:t>Das </a:t>
            </a:r>
            <a:r>
              <a:rPr lang="sk-SK" sz="2900" dirty="0" err="1"/>
              <a:t>Unternehmen</a:t>
            </a:r>
            <a:r>
              <a:rPr lang="sk-SK" sz="2900" dirty="0"/>
              <a:t> IMC Slovakia, s.r.o. </a:t>
            </a:r>
            <a:r>
              <a:rPr lang="sk-SK" sz="2900" dirty="0" err="1"/>
              <a:t>ist</a:t>
            </a:r>
            <a:r>
              <a:rPr lang="sk-SK" sz="2900" dirty="0"/>
              <a:t> </a:t>
            </a:r>
            <a:r>
              <a:rPr lang="sk-SK" sz="2900" dirty="0" err="1"/>
              <a:t>sich</a:t>
            </a:r>
            <a:r>
              <a:rPr lang="sk-SK" sz="2900" dirty="0"/>
              <a:t> </a:t>
            </a:r>
            <a:r>
              <a:rPr lang="sk-SK" sz="2900" dirty="0" err="1"/>
              <a:t>seiner</a:t>
            </a:r>
            <a:r>
              <a:rPr lang="sk-SK" sz="2900" dirty="0"/>
              <a:t> </a:t>
            </a:r>
            <a:r>
              <a:rPr lang="sk-SK" sz="2900" dirty="0" err="1"/>
              <a:t>Verantwortung</a:t>
            </a:r>
            <a:r>
              <a:rPr lang="sk-SK" sz="2900" dirty="0"/>
              <a:t> </a:t>
            </a:r>
            <a:r>
              <a:rPr lang="sk-SK" sz="2900" dirty="0" err="1"/>
              <a:t>für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Verbesserung</a:t>
            </a:r>
            <a:r>
              <a:rPr lang="sk-SK" sz="2900" dirty="0"/>
              <a:t> des Energie-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Energieträgerwirtschaftens</a:t>
            </a:r>
            <a:r>
              <a:rPr lang="sk-SK" sz="2900" dirty="0"/>
              <a:t>  </a:t>
            </a:r>
            <a:r>
              <a:rPr lang="sk-SK" sz="2900" dirty="0" err="1"/>
              <a:t>voll</a:t>
            </a:r>
            <a:r>
              <a:rPr lang="sk-SK" sz="2900" dirty="0"/>
              <a:t> </a:t>
            </a:r>
            <a:r>
              <a:rPr lang="sk-SK" sz="2900" dirty="0" err="1"/>
              <a:t>bewusst</a:t>
            </a:r>
            <a:r>
              <a:rPr lang="sk-SK" sz="2900" dirty="0"/>
              <a:t> </a:t>
            </a:r>
            <a:r>
              <a:rPr lang="sk-SK" sz="2900" dirty="0" err="1"/>
              <a:t>mit</a:t>
            </a:r>
            <a:r>
              <a:rPr lang="sk-SK" sz="2900" dirty="0"/>
              <a:t> </a:t>
            </a:r>
            <a:r>
              <a:rPr lang="sk-SK" sz="2900" dirty="0" err="1"/>
              <a:t>dem</a:t>
            </a:r>
            <a:r>
              <a:rPr lang="sk-SK" sz="2900" dirty="0"/>
              <a:t> Ziel, </a:t>
            </a:r>
            <a:r>
              <a:rPr lang="sk-SK" sz="2900" dirty="0" err="1"/>
              <a:t>den</a:t>
            </a:r>
            <a:r>
              <a:rPr lang="sk-SK" sz="2900" dirty="0"/>
              <a:t> </a:t>
            </a:r>
            <a:r>
              <a:rPr lang="sk-SK" sz="2900" dirty="0" err="1"/>
              <a:t>Energieverbrauch</a:t>
            </a:r>
            <a:r>
              <a:rPr lang="sk-SK" sz="2900" dirty="0"/>
              <a:t>,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Treibhausgasemission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Kosten</a:t>
            </a:r>
            <a:r>
              <a:rPr lang="sk-SK" sz="2900" dirty="0"/>
              <a:t> </a:t>
            </a:r>
            <a:r>
              <a:rPr lang="sk-SK" sz="2900" dirty="0" err="1"/>
              <a:t>durch</a:t>
            </a:r>
            <a:r>
              <a:rPr lang="sk-SK" sz="2900" dirty="0"/>
              <a:t> </a:t>
            </a:r>
            <a:r>
              <a:rPr lang="sk-SK" sz="2900" dirty="0" err="1"/>
              <a:t>Energiemanagement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senken</a:t>
            </a:r>
            <a:r>
              <a:rPr lang="sk-SK" sz="2900" dirty="0"/>
              <a:t>.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diesem</a:t>
            </a:r>
            <a:r>
              <a:rPr lang="sk-SK" sz="2900" dirty="0"/>
              <a:t> </a:t>
            </a:r>
            <a:r>
              <a:rPr lang="sk-SK" sz="2900" dirty="0" err="1"/>
              <a:t>Zweck</a:t>
            </a:r>
            <a:r>
              <a:rPr lang="sk-SK" sz="2900" dirty="0"/>
              <a:t> </a:t>
            </a:r>
            <a:r>
              <a:rPr lang="sk-SK" sz="2900" dirty="0" err="1"/>
              <a:t>setzt</a:t>
            </a:r>
            <a:r>
              <a:rPr lang="sk-SK" sz="2900" dirty="0"/>
              <a:t> das </a:t>
            </a:r>
            <a:r>
              <a:rPr lang="sk-SK" sz="2900" dirty="0" err="1"/>
              <a:t>Unternehmen</a:t>
            </a:r>
            <a:r>
              <a:rPr lang="sk-SK" sz="2900" dirty="0"/>
              <a:t> </a:t>
            </a:r>
            <a:r>
              <a:rPr lang="sk-SK" sz="2900" dirty="0" err="1"/>
              <a:t>aktiv</a:t>
            </a:r>
            <a:r>
              <a:rPr lang="sk-SK" sz="2900" dirty="0"/>
              <a:t> </a:t>
            </a:r>
            <a:r>
              <a:rPr lang="sk-SK" sz="2900" dirty="0" err="1"/>
              <a:t>ein</a:t>
            </a:r>
            <a:r>
              <a:rPr lang="sk-SK" sz="2900" dirty="0"/>
              <a:t> </a:t>
            </a:r>
            <a:r>
              <a:rPr lang="sk-SK" sz="2900" dirty="0" err="1"/>
              <a:t>Energiemanagementsystem</a:t>
            </a:r>
            <a:r>
              <a:rPr lang="sk-SK" sz="2900" dirty="0"/>
              <a:t> (</a:t>
            </a:r>
            <a:r>
              <a:rPr lang="sk-SK" sz="2900" dirty="0" err="1"/>
              <a:t>EnMS</a:t>
            </a:r>
            <a:r>
              <a:rPr lang="sk-SK" sz="2900" dirty="0"/>
              <a:t>) </a:t>
            </a:r>
            <a:r>
              <a:rPr lang="sk-SK" sz="2900" dirty="0" err="1"/>
              <a:t>gemäß</a:t>
            </a:r>
            <a:r>
              <a:rPr lang="sk-SK" sz="2900" dirty="0"/>
              <a:t> ISO 50001 </a:t>
            </a:r>
            <a:r>
              <a:rPr lang="sk-SK" sz="2900" dirty="0" err="1"/>
              <a:t>ein</a:t>
            </a:r>
            <a:r>
              <a:rPr lang="sk-SK" sz="2900" dirty="0"/>
              <a:t>.</a:t>
            </a:r>
          </a:p>
          <a:p>
            <a:pPr lvl="0"/>
            <a:r>
              <a:rPr lang="sk-SK" sz="2900" dirty="0"/>
              <a:t>Im </a:t>
            </a:r>
            <a:r>
              <a:rPr lang="sk-SK" sz="2900" dirty="0" err="1"/>
              <a:t>Einklang</a:t>
            </a:r>
            <a:r>
              <a:rPr lang="sk-SK" sz="2900" dirty="0"/>
              <a:t> </a:t>
            </a:r>
            <a:r>
              <a:rPr lang="sk-SK" sz="2900" dirty="0" err="1"/>
              <a:t>mit</a:t>
            </a:r>
            <a:r>
              <a:rPr lang="sk-SK" sz="2900" dirty="0"/>
              <a:t> </a:t>
            </a:r>
            <a:r>
              <a:rPr lang="sk-SK" sz="2900" dirty="0" err="1"/>
              <a:t>den</a:t>
            </a:r>
            <a:r>
              <a:rPr lang="sk-SK" sz="2900" dirty="0"/>
              <a:t> </a:t>
            </a:r>
            <a:r>
              <a:rPr lang="sk-SK" sz="2900" dirty="0" err="1"/>
              <a:t>strategischen</a:t>
            </a:r>
            <a:r>
              <a:rPr lang="sk-SK" sz="2900" dirty="0"/>
              <a:t> </a:t>
            </a:r>
            <a:r>
              <a:rPr lang="sk-SK" sz="2900" dirty="0" err="1"/>
              <a:t>Zielen</a:t>
            </a:r>
            <a:r>
              <a:rPr lang="sk-SK" sz="2900" dirty="0"/>
              <a:t> des </a:t>
            </a:r>
            <a:r>
              <a:rPr lang="sk-SK" sz="2900" dirty="0" err="1"/>
              <a:t>Unternehmens</a:t>
            </a:r>
            <a:r>
              <a:rPr lang="sk-SK" sz="2900" dirty="0"/>
              <a:t>, </a:t>
            </a:r>
            <a:r>
              <a:rPr lang="sk-SK" sz="2900" dirty="0" err="1"/>
              <a:t>auf</a:t>
            </a:r>
            <a:r>
              <a:rPr lang="sk-SK" sz="2900" dirty="0"/>
              <a:t> der </a:t>
            </a:r>
            <a:r>
              <a:rPr lang="sk-SK" sz="2900" dirty="0" err="1"/>
              <a:t>Grundlage</a:t>
            </a:r>
            <a:r>
              <a:rPr lang="sk-SK" sz="2900" dirty="0"/>
              <a:t> der </a:t>
            </a:r>
            <a:r>
              <a:rPr lang="sk-SK" sz="2900" dirty="0" err="1"/>
              <a:t>durchgeführten</a:t>
            </a:r>
            <a:r>
              <a:rPr lang="sk-SK" sz="2900" dirty="0"/>
              <a:t> </a:t>
            </a:r>
            <a:r>
              <a:rPr lang="sk-SK" sz="2900" dirty="0" err="1"/>
              <a:t>Messung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der </a:t>
            </a:r>
            <a:r>
              <a:rPr lang="sk-SK" sz="2900" dirty="0" err="1"/>
              <a:t>Energieziele</a:t>
            </a:r>
            <a:r>
              <a:rPr lang="sk-SK" sz="2900" dirty="0"/>
              <a:t> </a:t>
            </a:r>
            <a:r>
              <a:rPr lang="sk-SK" sz="2900" dirty="0" err="1"/>
              <a:t>verpflichten</a:t>
            </a:r>
            <a:r>
              <a:rPr lang="sk-SK" sz="2900" dirty="0"/>
              <a:t> </a:t>
            </a:r>
            <a:r>
              <a:rPr lang="sk-SK" sz="2900" dirty="0" err="1"/>
              <a:t>wir</a:t>
            </a:r>
            <a:r>
              <a:rPr lang="sk-SK" sz="2900" dirty="0"/>
              <a:t> </a:t>
            </a:r>
            <a:r>
              <a:rPr lang="sk-SK" sz="2900" dirty="0" err="1"/>
              <a:t>uns</a:t>
            </a:r>
            <a:r>
              <a:rPr lang="sk-SK" sz="2900" dirty="0"/>
              <a:t>:</a:t>
            </a:r>
          </a:p>
          <a:p>
            <a:pPr lvl="0"/>
            <a:r>
              <a:rPr lang="sk-SK" sz="2900" dirty="0" err="1"/>
              <a:t>Stets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Verfügbarkeit</a:t>
            </a:r>
            <a:r>
              <a:rPr lang="sk-SK" sz="2900" dirty="0"/>
              <a:t> von </a:t>
            </a:r>
            <a:r>
              <a:rPr lang="sk-SK" sz="2900" dirty="0" err="1"/>
              <a:t>Information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notwendigen</a:t>
            </a:r>
            <a:r>
              <a:rPr lang="sk-SK" sz="2900" dirty="0"/>
              <a:t> </a:t>
            </a:r>
            <a:r>
              <a:rPr lang="sk-SK" sz="2900" dirty="0" err="1"/>
              <a:t>Ressourcen</a:t>
            </a:r>
            <a:r>
              <a:rPr lang="sk-SK" sz="2900" dirty="0"/>
              <a:t> </a:t>
            </a:r>
            <a:r>
              <a:rPr lang="sk-SK" sz="2900" dirty="0" err="1"/>
              <a:t>zur</a:t>
            </a:r>
            <a:r>
              <a:rPr lang="sk-SK" sz="2900" dirty="0"/>
              <a:t> </a:t>
            </a:r>
            <a:r>
              <a:rPr lang="sk-SK" sz="2900" dirty="0" err="1"/>
              <a:t>Erreichung</a:t>
            </a:r>
            <a:r>
              <a:rPr lang="sk-SK" sz="2900" dirty="0"/>
              <a:t> der </a:t>
            </a:r>
            <a:r>
              <a:rPr lang="sk-SK" sz="2900" dirty="0" err="1"/>
              <a:t>Ziele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gewährleisten</a:t>
            </a:r>
            <a:r>
              <a:rPr lang="sk-SK" sz="2900" dirty="0"/>
              <a:t>,  das </a:t>
            </a:r>
            <a:r>
              <a:rPr lang="sk-SK" sz="2900" dirty="0" err="1"/>
              <a:t>Energiemanagement</a:t>
            </a:r>
            <a:r>
              <a:rPr lang="sk-SK" sz="2900" dirty="0"/>
              <a:t> im </a:t>
            </a:r>
            <a:r>
              <a:rPr lang="sk-SK" sz="2900" dirty="0" err="1"/>
              <a:t>gesamten</a:t>
            </a:r>
            <a:r>
              <a:rPr lang="sk-SK" sz="2900" dirty="0"/>
              <a:t> </a:t>
            </a:r>
            <a:r>
              <a:rPr lang="sk-SK" sz="2900" dirty="0" err="1"/>
              <a:t>Unternehmen</a:t>
            </a:r>
            <a:r>
              <a:rPr lang="sk-SK" sz="2900" dirty="0"/>
              <a:t> IMC Slovakia, s.r.o.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verbesser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dabei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allgemein</a:t>
            </a:r>
            <a:r>
              <a:rPr lang="sk-SK" sz="2900" dirty="0"/>
              <a:t> </a:t>
            </a:r>
            <a:r>
              <a:rPr lang="sk-SK" sz="2900" dirty="0" err="1"/>
              <a:t>verbindlichen</a:t>
            </a:r>
            <a:r>
              <a:rPr lang="sk-SK" sz="2900" dirty="0"/>
              <a:t> </a:t>
            </a:r>
            <a:r>
              <a:rPr lang="sk-SK" sz="2900" dirty="0" err="1"/>
              <a:t>Rechtsvorschriften</a:t>
            </a:r>
            <a:r>
              <a:rPr lang="sk-SK" sz="2900" dirty="0"/>
              <a:t> der </a:t>
            </a:r>
            <a:r>
              <a:rPr lang="sk-SK" sz="2900" dirty="0" err="1"/>
              <a:t>Slowakischen</a:t>
            </a:r>
            <a:r>
              <a:rPr lang="sk-SK" sz="2900" dirty="0"/>
              <a:t> </a:t>
            </a:r>
            <a:r>
              <a:rPr lang="sk-SK" sz="2900" dirty="0" err="1"/>
              <a:t>Republik</a:t>
            </a:r>
            <a:r>
              <a:rPr lang="sk-SK" sz="2900" dirty="0"/>
              <a:t>, der </a:t>
            </a:r>
            <a:r>
              <a:rPr lang="sk-SK" sz="2900" dirty="0" err="1"/>
              <a:t>Europäischen</a:t>
            </a:r>
            <a:r>
              <a:rPr lang="sk-SK" sz="2900" dirty="0"/>
              <a:t> </a:t>
            </a:r>
            <a:r>
              <a:rPr lang="sk-SK" sz="2900" dirty="0" err="1"/>
              <a:t>Union</a:t>
            </a:r>
            <a:r>
              <a:rPr lang="sk-SK" sz="2900" dirty="0"/>
              <a:t> </a:t>
            </a:r>
            <a:r>
              <a:rPr lang="sk-SK" sz="2900" dirty="0" err="1"/>
              <a:t>sowie</a:t>
            </a:r>
            <a:r>
              <a:rPr lang="sk-SK" sz="2900" dirty="0"/>
              <a:t> </a:t>
            </a:r>
            <a:r>
              <a:rPr lang="sk-SK" sz="2900" dirty="0" err="1"/>
              <a:t>weitere</a:t>
            </a:r>
            <a:r>
              <a:rPr lang="sk-SK" sz="2900" dirty="0"/>
              <a:t> </a:t>
            </a:r>
            <a:r>
              <a:rPr lang="sk-SK" sz="2900" dirty="0" err="1"/>
              <a:t>vom</a:t>
            </a:r>
            <a:r>
              <a:rPr lang="sk-SK" sz="2900" dirty="0"/>
              <a:t> </a:t>
            </a:r>
            <a:r>
              <a:rPr lang="sk-SK" sz="2900" dirty="0" err="1"/>
              <a:t>Unternehmen</a:t>
            </a:r>
            <a:r>
              <a:rPr lang="sk-SK" sz="2900" dirty="0"/>
              <a:t> </a:t>
            </a:r>
            <a:r>
              <a:rPr lang="sk-SK" sz="2900" dirty="0" err="1"/>
              <a:t>anerkannte</a:t>
            </a:r>
            <a:r>
              <a:rPr lang="sk-SK" sz="2900" dirty="0"/>
              <a:t> </a:t>
            </a:r>
            <a:r>
              <a:rPr lang="sk-SK" sz="2900" dirty="0" err="1"/>
              <a:t>Anforderungen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berücksichtigen</a:t>
            </a:r>
            <a:endParaRPr lang="sk-SK" sz="2900" dirty="0"/>
          </a:p>
          <a:p>
            <a:pPr lvl="0"/>
            <a:r>
              <a:rPr lang="sk-SK" sz="2900" dirty="0" err="1"/>
              <a:t>Maßnahmen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ergreif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durchzusetzen</a:t>
            </a:r>
            <a:r>
              <a:rPr lang="sk-SK" sz="2900" dirty="0"/>
              <a:t>, </a:t>
            </a:r>
            <a:r>
              <a:rPr lang="sk-SK" sz="2900" dirty="0" err="1"/>
              <a:t>die</a:t>
            </a:r>
            <a:r>
              <a:rPr lang="sk-SK" sz="2900" dirty="0"/>
              <a:t> das </a:t>
            </a:r>
            <a:r>
              <a:rPr lang="sk-SK" sz="2900" dirty="0" err="1"/>
              <a:t>größte</a:t>
            </a:r>
            <a:r>
              <a:rPr lang="sk-SK" sz="2900" dirty="0"/>
              <a:t> </a:t>
            </a:r>
            <a:r>
              <a:rPr lang="sk-SK" sz="2900" dirty="0" err="1"/>
              <a:t>Potenzial</a:t>
            </a:r>
            <a:r>
              <a:rPr lang="sk-SK" sz="2900" dirty="0"/>
              <a:t> </a:t>
            </a:r>
            <a:r>
              <a:rPr lang="sk-SK" sz="2900" dirty="0" err="1"/>
              <a:t>für</a:t>
            </a:r>
            <a:r>
              <a:rPr lang="sk-SK" sz="2900" dirty="0"/>
              <a:t> </a:t>
            </a:r>
            <a:r>
              <a:rPr lang="sk-SK" sz="2900" dirty="0" err="1"/>
              <a:t>Energieeinsparungen</a:t>
            </a:r>
            <a:r>
              <a:rPr lang="sk-SK" sz="2900" dirty="0"/>
              <a:t> </a:t>
            </a:r>
            <a:r>
              <a:rPr lang="sk-SK" sz="2900" dirty="0" err="1"/>
              <a:t>biet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eine</a:t>
            </a:r>
            <a:r>
              <a:rPr lang="sk-SK" sz="2900" dirty="0"/>
              <a:t> </a:t>
            </a:r>
            <a:r>
              <a:rPr lang="sk-SK" sz="2900" dirty="0" err="1"/>
              <a:t>kontinuierliche</a:t>
            </a:r>
            <a:r>
              <a:rPr lang="sk-SK" sz="2900" dirty="0"/>
              <a:t> </a:t>
            </a:r>
            <a:r>
              <a:rPr lang="sk-SK" sz="2900" dirty="0" err="1"/>
              <a:t>Senkung</a:t>
            </a:r>
            <a:r>
              <a:rPr lang="sk-SK" sz="2900" dirty="0"/>
              <a:t> des </a:t>
            </a:r>
            <a:r>
              <a:rPr lang="sk-SK" sz="2900" dirty="0" err="1"/>
              <a:t>Energieintensität</a:t>
            </a:r>
            <a:r>
              <a:rPr lang="sk-SK" sz="2900" dirty="0"/>
              <a:t> in der </a:t>
            </a:r>
            <a:r>
              <a:rPr lang="sk-SK" sz="2900" dirty="0" err="1"/>
              <a:t>Produktion</a:t>
            </a:r>
            <a:r>
              <a:rPr lang="sk-SK" sz="2900" dirty="0"/>
              <a:t> </a:t>
            </a:r>
            <a:r>
              <a:rPr lang="sk-SK" sz="2900" dirty="0" err="1"/>
              <a:t>unter</a:t>
            </a:r>
            <a:r>
              <a:rPr lang="sk-SK" sz="2900" dirty="0"/>
              <a:t> </a:t>
            </a:r>
            <a:r>
              <a:rPr lang="sk-SK" sz="2900" dirty="0" err="1"/>
              <a:t>Berücksichtigung</a:t>
            </a:r>
            <a:r>
              <a:rPr lang="sk-SK" sz="2900" dirty="0"/>
              <a:t> der </a:t>
            </a:r>
            <a:r>
              <a:rPr lang="sk-SK" sz="2900" dirty="0" err="1"/>
              <a:t>wirtschaftlichen</a:t>
            </a:r>
            <a:r>
              <a:rPr lang="sk-SK" sz="2900" dirty="0"/>
              <a:t> </a:t>
            </a:r>
            <a:r>
              <a:rPr lang="sk-SK" sz="2900" dirty="0" err="1"/>
              <a:t>Rahmenbedingung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der </a:t>
            </a:r>
            <a:r>
              <a:rPr lang="sk-SK" sz="2900" dirty="0" err="1"/>
              <a:t>Effizienz</a:t>
            </a:r>
            <a:r>
              <a:rPr lang="sk-SK" sz="2900" dirty="0"/>
              <a:t> </a:t>
            </a:r>
            <a:r>
              <a:rPr lang="sk-SK" sz="2900" dirty="0" err="1"/>
              <a:t>gewährleisten</a:t>
            </a:r>
            <a:endParaRPr lang="sk-SK" sz="2900" dirty="0"/>
          </a:p>
          <a:p>
            <a:pPr lvl="0"/>
            <a:r>
              <a:rPr lang="sk-SK" sz="2900" dirty="0" err="1"/>
              <a:t>Den</a:t>
            </a:r>
            <a:r>
              <a:rPr lang="sk-SK" sz="2900" dirty="0"/>
              <a:t> </a:t>
            </a:r>
            <a:r>
              <a:rPr lang="sk-SK" sz="2900" dirty="0" err="1"/>
              <a:t>Kauf</a:t>
            </a:r>
            <a:r>
              <a:rPr lang="sk-SK" sz="2900" dirty="0"/>
              <a:t> von </a:t>
            </a:r>
            <a:r>
              <a:rPr lang="sk-SK" sz="2900" dirty="0" err="1"/>
              <a:t>energieeffizienter</a:t>
            </a:r>
            <a:r>
              <a:rPr lang="sk-SK" sz="2900" dirty="0"/>
              <a:t> </a:t>
            </a:r>
            <a:r>
              <a:rPr lang="sk-SK" sz="2900" dirty="0" err="1"/>
              <a:t>Produkten</a:t>
            </a:r>
            <a:r>
              <a:rPr lang="sk-SK" sz="2900" dirty="0"/>
              <a:t>, </a:t>
            </a:r>
            <a:r>
              <a:rPr lang="sk-SK" sz="2900" dirty="0" err="1"/>
              <a:t>Technologien</a:t>
            </a:r>
            <a:r>
              <a:rPr lang="sk-SK" sz="2900" dirty="0"/>
              <a:t>, </a:t>
            </a:r>
            <a:r>
              <a:rPr lang="sk-SK" sz="2900" dirty="0" err="1"/>
              <a:t>Anlag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Dienstleistungen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bevorzugen</a:t>
            </a:r>
            <a:r>
              <a:rPr lang="sk-SK" sz="2900" dirty="0"/>
              <a:t>,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auf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Verbesserung</a:t>
            </a:r>
            <a:r>
              <a:rPr lang="sk-SK" sz="2900" dirty="0"/>
              <a:t> des </a:t>
            </a:r>
            <a:r>
              <a:rPr lang="sk-SK" sz="2900" dirty="0" err="1"/>
              <a:t>Energiemanagements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Senkung</a:t>
            </a:r>
            <a:r>
              <a:rPr lang="sk-SK" sz="2900" dirty="0"/>
              <a:t> der </a:t>
            </a:r>
            <a:r>
              <a:rPr lang="sk-SK" sz="2900" dirty="0" err="1"/>
              <a:t>Energieintensität</a:t>
            </a:r>
            <a:r>
              <a:rPr lang="sk-SK" sz="2900" dirty="0"/>
              <a:t> </a:t>
            </a:r>
            <a:r>
              <a:rPr lang="sk-SK" sz="2900" dirty="0" err="1"/>
              <a:t>ausgerichtet</a:t>
            </a:r>
            <a:r>
              <a:rPr lang="sk-SK" sz="2900" dirty="0"/>
              <a:t> </a:t>
            </a:r>
            <a:r>
              <a:rPr lang="sk-SK" sz="2900" dirty="0" err="1"/>
              <a:t>sind</a:t>
            </a:r>
            <a:endParaRPr lang="sk-SK" sz="2900" dirty="0"/>
          </a:p>
          <a:p>
            <a:pPr lvl="0"/>
            <a:r>
              <a:rPr lang="sk-SK" sz="2900" dirty="0"/>
              <a:t>Das </a:t>
            </a:r>
            <a:r>
              <a:rPr lang="sk-SK" sz="2900" dirty="0" err="1"/>
              <a:t>Bewusstsein</a:t>
            </a:r>
            <a:r>
              <a:rPr lang="sk-SK" sz="2900" dirty="0"/>
              <a:t> </a:t>
            </a:r>
            <a:r>
              <a:rPr lang="sk-SK" sz="2900" dirty="0" err="1"/>
              <a:t>aller</a:t>
            </a:r>
            <a:r>
              <a:rPr lang="sk-SK" sz="2900" dirty="0"/>
              <a:t> </a:t>
            </a:r>
            <a:r>
              <a:rPr lang="sk-SK" sz="2900" dirty="0" err="1"/>
              <a:t>Mitarbeiter</a:t>
            </a:r>
            <a:r>
              <a:rPr lang="sk-SK" sz="2900" dirty="0"/>
              <a:t> von IMC Slovakia, s.r.o. im </a:t>
            </a:r>
            <a:r>
              <a:rPr lang="sk-SK" sz="2900" dirty="0" err="1"/>
              <a:t>Bereich</a:t>
            </a:r>
            <a:r>
              <a:rPr lang="sk-SK" sz="2900" dirty="0"/>
              <a:t> des </a:t>
            </a:r>
            <a:r>
              <a:rPr lang="sk-SK" sz="2900" dirty="0" err="1"/>
              <a:t>Energiemanagements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der </a:t>
            </a:r>
            <a:r>
              <a:rPr lang="sk-SK" sz="2900" dirty="0" err="1"/>
              <a:t>umgesetzten</a:t>
            </a:r>
            <a:r>
              <a:rPr lang="sk-SK" sz="2900" dirty="0"/>
              <a:t> </a:t>
            </a:r>
            <a:r>
              <a:rPr lang="sk-SK" sz="2900" dirty="0" err="1"/>
              <a:t>Energieeffizienzmaßnahmen</a:t>
            </a:r>
            <a:r>
              <a:rPr lang="sk-SK" sz="2900" dirty="0"/>
              <a:t> </a:t>
            </a:r>
            <a:r>
              <a:rPr lang="sk-SK" sz="2900" dirty="0" err="1"/>
              <a:t>kontinuierlich</a:t>
            </a:r>
            <a:r>
              <a:rPr lang="sk-SK" sz="2900" dirty="0"/>
              <a:t> </a:t>
            </a:r>
            <a:r>
              <a:rPr lang="sk-SK" sz="2900" dirty="0" err="1"/>
              <a:t>zu</a:t>
            </a:r>
            <a:r>
              <a:rPr lang="sk-SK" sz="2900" dirty="0"/>
              <a:t> </a:t>
            </a:r>
            <a:r>
              <a:rPr lang="sk-SK" sz="2900" dirty="0" err="1"/>
              <a:t>schärfen</a:t>
            </a:r>
            <a:endParaRPr lang="sk-SK" sz="2900" dirty="0"/>
          </a:p>
          <a:p>
            <a:pPr lvl="0"/>
            <a:r>
              <a:rPr lang="sk-SK" sz="2900" dirty="0" err="1"/>
              <a:t>Die</a:t>
            </a:r>
            <a:r>
              <a:rPr lang="sk-SK" sz="2900" dirty="0"/>
              <a:t> </a:t>
            </a:r>
            <a:r>
              <a:rPr lang="sk-SK" sz="2900" dirty="0" err="1"/>
              <a:t>Unternehmensleitung</a:t>
            </a:r>
            <a:r>
              <a:rPr lang="sk-SK" sz="2900" dirty="0"/>
              <a:t> </a:t>
            </a:r>
            <a:r>
              <a:rPr lang="sk-SK" sz="2900" dirty="0" err="1"/>
              <a:t>verpflichtet</a:t>
            </a:r>
            <a:r>
              <a:rPr lang="sk-SK" sz="2900" dirty="0"/>
              <a:t> </a:t>
            </a:r>
            <a:r>
              <a:rPr lang="sk-SK" sz="2900" dirty="0" err="1"/>
              <a:t>alle</a:t>
            </a:r>
            <a:r>
              <a:rPr lang="sk-SK" sz="2900" dirty="0"/>
              <a:t> </a:t>
            </a:r>
            <a:r>
              <a:rPr lang="sk-SK" sz="2900" dirty="0" err="1"/>
              <a:t>internen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externen</a:t>
            </a:r>
            <a:r>
              <a:rPr lang="sk-SK" sz="2900" dirty="0"/>
              <a:t> </a:t>
            </a:r>
            <a:r>
              <a:rPr lang="sk-SK" sz="2900" dirty="0" err="1"/>
              <a:t>Mitarbeiter</a:t>
            </a:r>
            <a:r>
              <a:rPr lang="sk-SK" sz="2900" dirty="0"/>
              <a:t> </a:t>
            </a:r>
            <a:r>
              <a:rPr lang="sk-SK" sz="2900" dirty="0" err="1"/>
              <a:t>auf</a:t>
            </a:r>
            <a:r>
              <a:rPr lang="sk-SK" sz="2900" dirty="0"/>
              <a:t> </a:t>
            </a:r>
            <a:r>
              <a:rPr lang="sk-SK" sz="2900" dirty="0" err="1"/>
              <a:t>dem</a:t>
            </a:r>
            <a:r>
              <a:rPr lang="sk-SK" sz="2900" dirty="0"/>
              <a:t> </a:t>
            </a:r>
            <a:r>
              <a:rPr lang="sk-SK" sz="2900" dirty="0" err="1"/>
              <a:t>Gelände</a:t>
            </a:r>
            <a:r>
              <a:rPr lang="sk-SK" sz="2900" dirty="0"/>
              <a:t> der IMC Slovakia, s.r.o. </a:t>
            </a:r>
            <a:r>
              <a:rPr lang="sk-SK" sz="2900" dirty="0" err="1"/>
              <a:t>zur</a:t>
            </a:r>
            <a:r>
              <a:rPr lang="sk-SK" sz="2900" dirty="0"/>
              <a:t> </a:t>
            </a:r>
            <a:r>
              <a:rPr lang="sk-SK" sz="2900" dirty="0" err="1"/>
              <a:t>Umsetzung</a:t>
            </a:r>
            <a:r>
              <a:rPr lang="sk-SK" sz="2900" dirty="0"/>
              <a:t> </a:t>
            </a:r>
            <a:r>
              <a:rPr lang="sk-SK" sz="2900" dirty="0" err="1"/>
              <a:t>dieser</a:t>
            </a:r>
            <a:r>
              <a:rPr lang="sk-SK" sz="2900" dirty="0"/>
              <a:t> </a:t>
            </a:r>
            <a:r>
              <a:rPr lang="sk-SK" sz="2900" dirty="0" err="1"/>
              <a:t>Ziele</a:t>
            </a:r>
            <a:r>
              <a:rPr lang="sk-SK" sz="2900" dirty="0"/>
              <a:t> </a:t>
            </a:r>
            <a:r>
              <a:rPr lang="sk-SK" sz="2900" dirty="0" err="1"/>
              <a:t>und</a:t>
            </a:r>
            <a:r>
              <a:rPr lang="sk-SK" sz="2900" dirty="0"/>
              <a:t> </a:t>
            </a:r>
            <a:r>
              <a:rPr lang="sk-SK" sz="2900" dirty="0" err="1"/>
              <a:t>zählt</a:t>
            </a:r>
            <a:r>
              <a:rPr lang="sk-SK" sz="2900" dirty="0"/>
              <a:t> </a:t>
            </a:r>
            <a:r>
              <a:rPr lang="sk-SK" sz="2900" dirty="0" err="1"/>
              <a:t>auf</a:t>
            </a:r>
            <a:r>
              <a:rPr lang="sk-SK" sz="2900" dirty="0"/>
              <a:t> </a:t>
            </a:r>
            <a:r>
              <a:rPr lang="sk-SK" sz="2900" dirty="0" err="1"/>
              <a:t>ihr</a:t>
            </a:r>
            <a:r>
              <a:rPr lang="sk-SK" sz="2900" dirty="0"/>
              <a:t> </a:t>
            </a:r>
            <a:r>
              <a:rPr lang="sk-SK" sz="2900" dirty="0" err="1"/>
              <a:t>volles</a:t>
            </a:r>
            <a:r>
              <a:rPr lang="sk-SK" sz="2900" dirty="0"/>
              <a:t> </a:t>
            </a:r>
            <a:r>
              <a:rPr lang="sk-SK" sz="2900" dirty="0" err="1"/>
              <a:t>Engagement</a:t>
            </a:r>
            <a:r>
              <a:rPr lang="sk-SK" sz="2900" dirty="0"/>
              <a:t>.</a:t>
            </a:r>
            <a:endParaRPr lang="en-GB" sz="2900" dirty="0"/>
          </a:p>
          <a:p>
            <a:pPr lvl="1"/>
            <a:endParaRPr lang="en-GB" dirty="0"/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47207C15-3572-4DC5-9920-32A175B643F6}"/>
              </a:ext>
            </a:extLst>
          </p:cNvPr>
          <p:cNvGrpSpPr/>
          <p:nvPr/>
        </p:nvGrpSpPr>
        <p:grpSpPr>
          <a:xfrm>
            <a:off x="-109057" y="96763"/>
            <a:ext cx="12292668" cy="1325563"/>
            <a:chOff x="-109057" y="96763"/>
            <a:chExt cx="12292668" cy="1325563"/>
          </a:xfrm>
        </p:grpSpPr>
        <p:sp>
          <p:nvSpPr>
            <p:cNvPr id="139" name="Obdĺžnik 138">
              <a:extLst>
                <a:ext uri="{FF2B5EF4-FFF2-40B4-BE49-F238E27FC236}">
                  <a16:creationId xmlns:a16="http://schemas.microsoft.com/office/drawing/2014/main" id="{BB434340-EB2E-4D9A-A56C-D2E21BE97420}"/>
                </a:ext>
              </a:extLst>
            </p:cNvPr>
            <p:cNvSpPr/>
            <p:nvPr/>
          </p:nvSpPr>
          <p:spPr>
            <a:xfrm flipV="1">
              <a:off x="-109057" y="247112"/>
              <a:ext cx="11942299" cy="101862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35000">
                  <a:schemeClr val="accent1">
                    <a:lumMod val="0"/>
                    <a:lumOff val="100000"/>
                  </a:schemeClr>
                </a:gs>
                <a:gs pos="100000">
                  <a:srgbClr val="778BC3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Nadpis 1">
              <a:extLst>
                <a:ext uri="{FF2B5EF4-FFF2-40B4-BE49-F238E27FC236}">
                  <a16:creationId xmlns:a16="http://schemas.microsoft.com/office/drawing/2014/main" id="{761F2C47-C654-4CE9-BE6C-4E462EFA0CFE}"/>
                </a:ext>
              </a:extLst>
            </p:cNvPr>
            <p:cNvSpPr txBox="1">
              <a:spLocks/>
            </p:cNvSpPr>
            <p:nvPr/>
          </p:nvSpPr>
          <p:spPr>
            <a:xfrm>
              <a:off x="838200" y="96763"/>
              <a:ext cx="10515600" cy="13255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>
                <a:defRPr/>
              </a:pPr>
              <a:r>
                <a:rPr lang="sk-SK" dirty="0" err="1"/>
                <a:t>Energiepolitik</a:t>
              </a:r>
              <a:endParaRPr kumimoji="0" lang="sk-SK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" name="Rovná spojnica 25">
              <a:extLst>
                <a:ext uri="{FF2B5EF4-FFF2-40B4-BE49-F238E27FC236}">
                  <a16:creationId xmlns:a16="http://schemas.microsoft.com/office/drawing/2014/main" id="{1E3A8C02-224E-499A-A65E-08CEBBBA168E}"/>
                </a:ext>
              </a:extLst>
            </p:cNvPr>
            <p:cNvCxnSpPr/>
            <p:nvPr/>
          </p:nvCxnSpPr>
          <p:spPr>
            <a:xfrm>
              <a:off x="-97726" y="1265734"/>
              <a:ext cx="12281337" cy="0"/>
            </a:xfrm>
            <a:prstGeom prst="line">
              <a:avLst/>
            </a:prstGeom>
            <a:ln w="38100">
              <a:solidFill>
                <a:srgbClr val="00006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" name="Obrázok 36">
            <a:extLst>
              <a:ext uri="{FF2B5EF4-FFF2-40B4-BE49-F238E27FC236}">
                <a16:creationId xmlns:a16="http://schemas.microsoft.com/office/drawing/2014/main" id="{53B09E30-F004-4BBE-8196-2223F7CC672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29" y="447192"/>
            <a:ext cx="842023" cy="346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Obdĺžnik 20">
            <a:extLst>
              <a:ext uri="{FF2B5EF4-FFF2-40B4-BE49-F238E27FC236}">
                <a16:creationId xmlns:a16="http://schemas.microsoft.com/office/drawing/2014/main" id="{A1BE8B4D-F166-43C5-BADD-CB76ADD92050}"/>
              </a:ext>
            </a:extLst>
          </p:cNvPr>
          <p:cNvSpPr/>
          <p:nvPr/>
        </p:nvSpPr>
        <p:spPr>
          <a:xfrm flipV="1">
            <a:off x="558" y="6565914"/>
            <a:ext cx="12183053" cy="2996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rgbClr val="778BC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92663714-4488-4347-AEC1-60ABC84CEBB4}"/>
              </a:ext>
            </a:extLst>
          </p:cNvPr>
          <p:cNvSpPr txBox="1"/>
          <p:nvPr/>
        </p:nvSpPr>
        <p:spPr>
          <a:xfrm>
            <a:off x="526977" y="6588845"/>
            <a:ext cx="14221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000" b="1" dirty="0" err="1"/>
              <a:t>Energeeffizienz</a:t>
            </a:r>
            <a:r>
              <a:rPr lang="sk-SK" sz="1000" b="1" dirty="0"/>
              <a:t>,  Rev. A</a:t>
            </a:r>
            <a:endParaRPr lang="sk-SK" sz="1000" dirty="0"/>
          </a:p>
        </p:txBody>
      </p:sp>
      <p:sp>
        <p:nvSpPr>
          <p:cNvPr id="12" name="Obdĺžnik 11">
            <a:extLst>
              <a:ext uri="{FF2B5EF4-FFF2-40B4-BE49-F238E27FC236}">
                <a16:creationId xmlns:a16="http://schemas.microsoft.com/office/drawing/2014/main" id="{E0A319EC-2107-43BA-80A4-CEBF74B396E7}"/>
              </a:ext>
            </a:extLst>
          </p:cNvPr>
          <p:cNvSpPr/>
          <p:nvPr/>
        </p:nvSpPr>
        <p:spPr>
          <a:xfrm>
            <a:off x="2630247" y="5945815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k-SK" sz="1000" b="1" dirty="0" err="1"/>
              <a:t>MSc</a:t>
            </a:r>
            <a:r>
              <a:rPr lang="sk-SK" sz="1000" b="1" dirty="0"/>
              <a:t>. Jaroslav Ďurkovský, </a:t>
            </a:r>
            <a:r>
              <a:rPr lang="sk-SK" sz="1000" b="1" dirty="0" err="1"/>
              <a:t>gez</a:t>
            </a:r>
            <a:r>
              <a:rPr lang="sk-SK" sz="1000" b="1" dirty="0"/>
              <a:t>.</a:t>
            </a:r>
            <a:endParaRPr lang="sk-SK" sz="1000" dirty="0"/>
          </a:p>
          <a:p>
            <a:pPr algn="ctr"/>
            <a:r>
              <a:rPr lang="sk-SK" sz="1000" b="1" dirty="0" err="1"/>
              <a:t>Geschäftsführer</a:t>
            </a:r>
            <a:r>
              <a:rPr lang="sk-SK" sz="1000" b="1" dirty="0"/>
              <a:t> </a:t>
            </a:r>
            <a:r>
              <a:rPr lang="sk-SK" sz="1000" b="1" dirty="0" err="1"/>
              <a:t>und</a:t>
            </a:r>
            <a:r>
              <a:rPr lang="sk-SK" sz="1000" b="1" dirty="0"/>
              <a:t> </a:t>
            </a:r>
            <a:r>
              <a:rPr lang="sk-SK" sz="1000" b="1" dirty="0" err="1"/>
              <a:t>Prokurist</a:t>
            </a:r>
            <a:r>
              <a:rPr lang="sk-SK" sz="1000" b="1" dirty="0"/>
              <a:t> IMC Slovakia, s.r.o.</a:t>
            </a:r>
            <a:endParaRPr lang="sk-SK" sz="1000" dirty="0"/>
          </a:p>
          <a:p>
            <a:pPr algn="ctr"/>
            <a:r>
              <a:rPr lang="sk-SK" sz="1000" b="1" dirty="0" err="1"/>
              <a:t>Gültig</a:t>
            </a:r>
            <a:r>
              <a:rPr lang="sk-SK" sz="1000" b="1" dirty="0"/>
              <a:t> </a:t>
            </a:r>
            <a:r>
              <a:rPr lang="sk-SK" sz="1000" b="1" dirty="0" err="1"/>
              <a:t>ab</a:t>
            </a:r>
            <a:r>
              <a:rPr lang="sk-SK" sz="1000" b="1" dirty="0"/>
              <a:t> 01.05.2026</a:t>
            </a:r>
            <a:endParaRPr lang="sk-SK" sz="1000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018E6FE9-38F2-4093-945B-59E5358820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4207" y="5541972"/>
            <a:ext cx="1489404" cy="1316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24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94a68bd-2425-419b-bb00-719997c76c4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BBE5B8D8CFA54C9289A578CBDBE8A9" ma:contentTypeVersion="15" ma:contentTypeDescription="Umožňuje vytvoriť nový dokument." ma:contentTypeScope="" ma:versionID="e5bb0516c922cf8203cb7229a1dbfcb0">
  <xsd:schema xmlns:xsd="http://www.w3.org/2001/XMLSchema" xmlns:xs="http://www.w3.org/2001/XMLSchema" xmlns:p="http://schemas.microsoft.com/office/2006/metadata/properties" xmlns:ns3="294a68bd-2425-419b-bb00-719997c76c47" xmlns:ns4="dab4787f-5e1a-4a89-9f9e-c9b05e3c10b0" targetNamespace="http://schemas.microsoft.com/office/2006/metadata/properties" ma:root="true" ma:fieldsID="56a7286924ae9ab9cce4213acbb34d77" ns3:_="" ns4:_="">
    <xsd:import namespace="294a68bd-2425-419b-bb00-719997c76c47"/>
    <xsd:import namespace="dab4787f-5e1a-4a89-9f9e-c9b05e3c10b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a68bd-2425-419b-bb00-719997c76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b4787f-5e1a-4a89-9f9e-c9b05e3c10b0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Príkaz hash indikátora zdieľani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15ED20-D8C5-4342-A747-1D3C2F72D214}">
  <ds:schemaRefs>
    <ds:schemaRef ds:uri="http://schemas.microsoft.com/office/2006/documentManagement/types"/>
    <ds:schemaRef ds:uri="http://purl.org/dc/elements/1.1/"/>
    <ds:schemaRef ds:uri="http://purl.org/dc/dcmitype/"/>
    <ds:schemaRef ds:uri="294a68bd-2425-419b-bb00-719997c76c47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metadata/properties"/>
    <ds:schemaRef ds:uri="dab4787f-5e1a-4a89-9f9e-c9b05e3c10b0"/>
  </ds:schemaRefs>
</ds:datastoreItem>
</file>

<file path=customXml/itemProps2.xml><?xml version="1.0" encoding="utf-8"?>
<ds:datastoreItem xmlns:ds="http://schemas.openxmlformats.org/officeDocument/2006/customXml" ds:itemID="{7E811AB2-15BE-4E3D-8BD2-31987F0FF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4a68bd-2425-419b-bb00-719997c76c47"/>
    <ds:schemaRef ds:uri="dab4787f-5e1a-4a89-9f9e-c9b05e3c10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750FC0-725F-4BCE-B7C6-4E79FAA733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5</TotalTime>
  <Words>277</Words>
  <Application>Microsoft Office PowerPoint</Application>
  <PresentationFormat>Širokouhlá</PresentationFormat>
  <Paragraphs>14</Paragraphs>
  <Slides>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9" baseType="lpstr">
      <vt:lpstr>SimHei</vt:lpstr>
      <vt:lpstr>Arial</vt:lpstr>
      <vt:lpstr>Calibri</vt:lpstr>
      <vt:lpstr>Calibri Light</vt:lpstr>
      <vt:lpstr>Verdana</vt:lpstr>
      <vt:lpstr>Motív balíka Office</vt:lpstr>
      <vt:lpstr>1_Blank</vt:lpstr>
      <vt:lpstr>think-cell Folie</vt:lpstr>
      <vt:lpstr>Cont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Valková Eva</dc:creator>
  <cp:lastModifiedBy>Hrušík Peter</cp:lastModifiedBy>
  <cp:revision>9</cp:revision>
  <cp:lastPrinted>2026-04-30T07:33:12Z</cp:lastPrinted>
  <dcterms:created xsi:type="dcterms:W3CDTF">2023-03-02T07:00:53Z</dcterms:created>
  <dcterms:modified xsi:type="dcterms:W3CDTF">2026-05-21T12:1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BBE5B8D8CFA54C9289A578CBDBE8A9</vt:lpwstr>
  </property>
</Properties>
</file>